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</p:sldMasterIdLst>
  <p:notesMasterIdLst>
    <p:notesMasterId r:id="rId17"/>
  </p:notesMasterIdLst>
  <p:sldIdLst>
    <p:sldId id="256" r:id="rId2"/>
    <p:sldId id="258" r:id="rId3"/>
    <p:sldId id="262" r:id="rId4"/>
    <p:sldId id="274" r:id="rId5"/>
    <p:sldId id="323" r:id="rId6"/>
    <p:sldId id="257" r:id="rId7"/>
    <p:sldId id="316" r:id="rId8"/>
    <p:sldId id="317" r:id="rId9"/>
    <p:sldId id="318" r:id="rId10"/>
    <p:sldId id="319" r:id="rId11"/>
    <p:sldId id="320" r:id="rId12"/>
    <p:sldId id="322" r:id="rId13"/>
    <p:sldId id="324" r:id="rId14"/>
    <p:sldId id="325" r:id="rId15"/>
    <p:sldId id="326" r:id="rId16"/>
  </p:sldIdLst>
  <p:sldSz cx="9144000" cy="5143500" type="screen16x9"/>
  <p:notesSz cx="6858000" cy="9144000"/>
  <p:embeddedFontLst>
    <p:embeddedFont>
      <p:font typeface="Arvo" panose="020B0604020202020204" charset="0"/>
      <p:regular r:id="rId18"/>
      <p:bold r:id="rId19"/>
      <p:italic r:id="rId20"/>
      <p:boldItalic r:id="rId21"/>
    </p:embeddedFont>
    <p:embeddedFont>
      <p:font typeface="Barlow Condensed" panose="020B0604020202020204" charset="0"/>
      <p:regular r:id="rId22"/>
      <p:bold r:id="rId23"/>
      <p:italic r:id="rId24"/>
      <p:boldItalic r:id="rId25"/>
    </p:embeddedFont>
    <p:embeddedFont>
      <p:font typeface="Barlow Condensed SemiBold" panose="020B0604020202020204" charset="0"/>
      <p:regular r:id="rId26"/>
      <p:bold r:id="rId27"/>
      <p:italic r:id="rId28"/>
      <p:boldItalic r:id="rId29"/>
    </p:embeddedFont>
    <p:embeddedFont>
      <p:font typeface="Fira Sans Extra Condensed Medium" panose="020B0604020202020204" charset="0"/>
      <p:regular r:id="rId30"/>
      <p:bold r:id="rId31"/>
      <p:italic r:id="rId32"/>
      <p:boldItalic r:id="rId33"/>
    </p:embeddedFont>
    <p:embeddedFont>
      <p:font typeface="Montserrat Light" panose="020B0604020202020204" charset="0"/>
      <p:regular r:id="rId34"/>
      <p:bold r:id="rId35"/>
      <p:italic r:id="rId36"/>
      <p:boldItalic r:id="rId37"/>
    </p:embeddedFont>
    <p:embeddedFont>
      <p:font typeface="Roboto Condensed" panose="020B0604020202020204" charset="0"/>
      <p:regular r:id="rId38"/>
      <p:bold r:id="rId39"/>
      <p:italic r:id="rId40"/>
      <p:boldItalic r:id="rId41"/>
    </p:embeddedFont>
  </p:embeddedFontLst>
  <p:custDataLst>
    <p:tags r:id="rId4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37814B1-A91B-4CD1-BB79-A4A6B44E29E8}">
  <a:tblStyle styleId="{437814B1-A91B-4CD1-BB79-A4A6B44E29E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8" d="100"/>
          <a:sy n="108" d="100"/>
        </p:scale>
        <p:origin x="73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font" Target="fonts/font22.fntdata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font" Target="fonts/font20.fntdata"/><Relationship Id="rId40" Type="http://schemas.openxmlformats.org/officeDocument/2006/relationships/font" Target="fonts/font23.fntdata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font" Target="fonts/font21.fntdata"/><Relationship Id="rId46" Type="http://schemas.openxmlformats.org/officeDocument/2006/relationships/tableStyles" Target="tableStyles.xml"/><Relationship Id="rId20" Type="http://schemas.openxmlformats.org/officeDocument/2006/relationships/font" Target="fonts/font3.fntdata"/><Relationship Id="rId41" Type="http://schemas.openxmlformats.org/officeDocument/2006/relationships/font" Target="fonts/font2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" name="Google Shape;84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4" name="Google Shape;84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86098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3501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3066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55866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g9c487f8d59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3" name="Google Shape;923;g9c487f8d59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6486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g9c487f8d59_0_1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1" name="Google Shape;891;g9c487f8d59_0_13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61498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g9c487f8d59_0_1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1" name="Google Shape;891;g9c487f8d59_0_13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g9c487f8d59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3" name="Google Shape;923;g9c487f8d59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Google Shape;1059;g9c487f8d59_0_14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0" name="Google Shape;1060;g9c487f8d59_0_14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95226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035861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3628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2971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2194950" y="1243575"/>
            <a:ext cx="4746300" cy="205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5950" y="3296175"/>
            <a:ext cx="3292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_1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14"/>
          <p:cNvSpPr txBox="1">
            <a:spLocks noGrp="1"/>
          </p:cNvSpPr>
          <p:nvPr>
            <p:ph type="ctrTitle"/>
          </p:nvPr>
        </p:nvSpPr>
        <p:spPr>
          <a:xfrm>
            <a:off x="4155425" y="19669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3" name="Google Shape;433;p14"/>
          <p:cNvSpPr txBox="1">
            <a:spLocks noGrp="1"/>
          </p:cNvSpPr>
          <p:nvPr>
            <p:ph type="title" idx="2" hasCustomPrompt="1"/>
          </p:nvPr>
        </p:nvSpPr>
        <p:spPr>
          <a:xfrm>
            <a:off x="2319727" y="196688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4" name="Google Shape;434;p14"/>
          <p:cNvSpPr txBox="1">
            <a:spLocks noGrp="1"/>
          </p:cNvSpPr>
          <p:nvPr>
            <p:ph type="ctrTitle" idx="3"/>
          </p:nvPr>
        </p:nvSpPr>
        <p:spPr>
          <a:xfrm>
            <a:off x="4155425" y="26321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5" name="Google Shape;435;p14"/>
          <p:cNvSpPr txBox="1">
            <a:spLocks noGrp="1"/>
          </p:cNvSpPr>
          <p:nvPr>
            <p:ph type="title" idx="4" hasCustomPrompt="1"/>
          </p:nvPr>
        </p:nvSpPr>
        <p:spPr>
          <a:xfrm>
            <a:off x="2319727" y="263213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6" name="Google Shape;436;p14"/>
          <p:cNvSpPr txBox="1">
            <a:spLocks noGrp="1"/>
          </p:cNvSpPr>
          <p:nvPr>
            <p:ph type="ctrTitle" idx="5"/>
          </p:nvPr>
        </p:nvSpPr>
        <p:spPr>
          <a:xfrm>
            <a:off x="4155425" y="32974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7" name="Google Shape;437;p14"/>
          <p:cNvSpPr txBox="1">
            <a:spLocks noGrp="1"/>
          </p:cNvSpPr>
          <p:nvPr>
            <p:ph type="title" idx="6" hasCustomPrompt="1"/>
          </p:nvPr>
        </p:nvSpPr>
        <p:spPr>
          <a:xfrm>
            <a:off x="2319727" y="329738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8" name="Google Shape;438;p14"/>
          <p:cNvSpPr txBox="1">
            <a:spLocks noGrp="1"/>
          </p:cNvSpPr>
          <p:nvPr>
            <p:ph type="ctrTitle" idx="7"/>
          </p:nvPr>
        </p:nvSpPr>
        <p:spPr>
          <a:xfrm>
            <a:off x="4155425" y="39626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9" name="Google Shape;439;p14"/>
          <p:cNvSpPr txBox="1">
            <a:spLocks noGrp="1"/>
          </p:cNvSpPr>
          <p:nvPr>
            <p:ph type="title" idx="8" hasCustomPrompt="1"/>
          </p:nvPr>
        </p:nvSpPr>
        <p:spPr>
          <a:xfrm>
            <a:off x="2319727" y="396263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40" name="Google Shape;440;p14"/>
          <p:cNvSpPr txBox="1">
            <a:spLocks noGrp="1"/>
          </p:cNvSpPr>
          <p:nvPr>
            <p:ph type="ctrTitle" idx="9"/>
          </p:nvPr>
        </p:nvSpPr>
        <p:spPr>
          <a:xfrm>
            <a:off x="4155425" y="1184800"/>
            <a:ext cx="38886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Barlow Condensed"/>
              <a:buNone/>
              <a:defRPr sz="3600">
                <a:solidFill>
                  <a:schemeClr val="accent4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grpSp>
        <p:nvGrpSpPr>
          <p:cNvPr id="441" name="Google Shape;441;p14"/>
          <p:cNvGrpSpPr/>
          <p:nvPr/>
        </p:nvGrpSpPr>
        <p:grpSpPr>
          <a:xfrm rot="-5400000">
            <a:off x="286059" y="3659330"/>
            <a:ext cx="1209907" cy="1782035"/>
            <a:chOff x="700771" y="-227337"/>
            <a:chExt cx="1458774" cy="2138784"/>
          </a:xfrm>
        </p:grpSpPr>
        <p:sp>
          <p:nvSpPr>
            <p:cNvPr id="442" name="Google Shape;442;p1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14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14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14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14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14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14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14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14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14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14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14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14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14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14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14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14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14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14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1" name="Google Shape;461;p14"/>
          <p:cNvGrpSpPr/>
          <p:nvPr/>
        </p:nvGrpSpPr>
        <p:grpSpPr>
          <a:xfrm rot="5400000">
            <a:off x="7613820" y="-692278"/>
            <a:ext cx="877851" cy="2209091"/>
            <a:chOff x="-26858" y="-227337"/>
            <a:chExt cx="1093215" cy="2757917"/>
          </a:xfrm>
        </p:grpSpPr>
        <p:sp>
          <p:nvSpPr>
            <p:cNvPr id="462" name="Google Shape;462;p1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14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14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14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14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1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1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14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14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1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14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14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14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14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14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14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1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14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_AND_BODY_2">
    <p:spTree>
      <p:nvGrpSpPr>
        <p:cNvPr id="1" name="Shape 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Google Shape;575;p16"/>
          <p:cNvSpPr txBox="1">
            <a:spLocks noGrp="1"/>
          </p:cNvSpPr>
          <p:nvPr>
            <p:ph type="title"/>
          </p:nvPr>
        </p:nvSpPr>
        <p:spPr>
          <a:xfrm>
            <a:off x="4306824" y="2036701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576" name="Google Shape;576;p16"/>
          <p:cNvSpPr txBox="1">
            <a:spLocks noGrp="1"/>
          </p:cNvSpPr>
          <p:nvPr>
            <p:ph type="subTitle" idx="1"/>
          </p:nvPr>
        </p:nvSpPr>
        <p:spPr>
          <a:xfrm>
            <a:off x="1865375" y="2706625"/>
            <a:ext cx="4023300" cy="142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7" name="Google Shape;577;p16"/>
          <p:cNvGrpSpPr/>
          <p:nvPr/>
        </p:nvGrpSpPr>
        <p:grpSpPr>
          <a:xfrm rot="-5400000" flipH="1">
            <a:off x="286059" y="-312722"/>
            <a:ext cx="1209907" cy="1782035"/>
            <a:chOff x="700771" y="-227337"/>
            <a:chExt cx="1458774" cy="2138784"/>
          </a:xfrm>
        </p:grpSpPr>
        <p:sp>
          <p:nvSpPr>
            <p:cNvPr id="578" name="Google Shape;578;p1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" name="Google Shape;579;p16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" name="Google Shape;580;p16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" name="Google Shape;581;p16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" name="Google Shape;582;p16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" name="Google Shape;583;p16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" name="Google Shape;584;p16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" name="Google Shape;585;p16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" name="Google Shape;586;p16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" name="Google Shape;587;p16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" name="Google Shape;588;p16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" name="Google Shape;589;p16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" name="Google Shape;590;p16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" name="Google Shape;591;p16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" name="Google Shape;592;p16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" name="Google Shape;593;p16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" name="Google Shape;594;p16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" name="Google Shape;595;p16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" name="Google Shape;596;p16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97" name="Google Shape;597;p16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598" name="Google Shape;598;p1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" name="Google Shape;599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" name="Google Shape;600;p16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" name="Google Shape;601;p16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" name="Google Shape;602;p16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" name="Google Shape;603;p16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" name="Google Shape;604;p1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" name="Google Shape;605;p1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" name="Google Shape;606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" name="Google Shape;607;p16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" name="Google Shape;608;p16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" name="Google Shape;609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" name="Google Shape;610;p1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" name="Google Shape;611;p16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" name="Google Shape;612;p16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" name="Google Shape;613;p16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" name="Google Shape;614;p16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" name="Google Shape;615;p16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" name="Google Shape;616;p16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" name="Google Shape;617;p1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16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">
    <p:bg>
      <p:bgPr>
        <a:solidFill>
          <a:schemeClr val="lt1"/>
        </a:solidFill>
        <a:effectLst/>
      </p:bgPr>
    </p:bg>
    <p:spTree>
      <p:nvGrpSpPr>
        <p:cNvPr id="1" name="Shape 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3" name="Google Shape;723;p20"/>
          <p:cNvGrpSpPr/>
          <p:nvPr/>
        </p:nvGrpSpPr>
        <p:grpSpPr>
          <a:xfrm>
            <a:off x="7099200" y="2933725"/>
            <a:ext cx="2044793" cy="2209776"/>
            <a:chOff x="1384075" y="241450"/>
            <a:chExt cx="4822625" cy="5215425"/>
          </a:xfrm>
        </p:grpSpPr>
        <p:sp>
          <p:nvSpPr>
            <p:cNvPr id="724" name="Google Shape;724;p20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" name="Google Shape;725;p20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" name="Google Shape;726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" name="Google Shape;727;p20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" name="Google Shape;728;p20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" name="Google Shape;729;p20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" name="Google Shape;730;p20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" name="Google Shape;731;p20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" name="Google Shape;732;p20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" name="Google Shape;733;p20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" name="Google Shape;734;p20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" name="Google Shape;735;p20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" name="Google Shape;736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" name="Google Shape;737;p20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" name="Google Shape;738;p20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" name="Google Shape;739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" name="Google Shape;740;p20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" name="Google Shape;741;p20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" name="Google Shape;742;p20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" name="Google Shape;743;p20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" name="Google Shape;744;p20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" name="Google Shape;745;p20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" name="Google Shape;746;p20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" name="Google Shape;747;p20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" name="Google Shape;748;p20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" name="Google Shape;749;p20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" name="Google Shape;750;p20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" name="Google Shape;751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" name="Google Shape;752;p20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" name="Google Shape;753;p20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" name="Google Shape;754;p20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" name="Google Shape;755;p20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" name="Google Shape;756;p20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" name="Google Shape;757;p20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" name="Google Shape;758;p20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" name="Google Shape;759;p20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" name="Google Shape;760;p20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" name="Google Shape;761;p20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" name="Google Shape;762;p20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" name="Google Shape;763;p20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4" name="Google Shape;764;p20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5" name="Google Shape;765;p20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6" name="Google Shape;766;p20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20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8" name="Google Shape;768;p20"/>
          <p:cNvGrpSpPr/>
          <p:nvPr/>
        </p:nvGrpSpPr>
        <p:grpSpPr>
          <a:xfrm>
            <a:off x="-76200" y="-76200"/>
            <a:ext cx="2286103" cy="2895537"/>
            <a:chOff x="-26858" y="-227337"/>
            <a:chExt cx="2186403" cy="2757917"/>
          </a:xfrm>
        </p:grpSpPr>
        <p:sp>
          <p:nvSpPr>
            <p:cNvPr id="769" name="Google Shape;769;p20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0" name="Google Shape;770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1" name="Google Shape;771;p20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2" name="Google Shape;772;p20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3" name="Google Shape;773;p20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4" name="Google Shape;774;p20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5" name="Google Shape;775;p20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6" name="Google Shape;776;p20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7" name="Google Shape;777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8" name="Google Shape;778;p20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9" name="Google Shape;779;p20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0" name="Google Shape;780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781;p20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782;p20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783;p20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784;p20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785;p20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786;p20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20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20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20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20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20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20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20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20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20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20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20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20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20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20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20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20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20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20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6" name="Google Shape;806;p20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7" name="Google Shape;807;p20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8" name="Google Shape;808;p20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">
    <p:bg>
      <p:bgPr>
        <a:solidFill>
          <a:schemeClr val="lt1"/>
        </a:solidFill>
        <a:effectLst/>
      </p:bgPr>
    </p:bg>
    <p:spTree>
      <p:nvGrpSpPr>
        <p:cNvPr id="1" name="Shape 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0" name="Google Shape;810;p21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811" name="Google Shape;811;p2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2" name="Google Shape;812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3" name="Google Shape;813;p21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4" name="Google Shape;814;p21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5" name="Google Shape;815;p21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6" name="Google Shape;816;p21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7" name="Google Shape;817;p2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2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21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21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2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4" name="Google Shape;824;p21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5" name="Google Shape;825;p21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6" name="Google Shape;826;p21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7" name="Google Shape;827;p21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8" name="Google Shape;828;p21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9" name="Google Shape;829;p21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2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21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3016200" y="1122100"/>
            <a:ext cx="3527100" cy="133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title" idx="2" hasCustomPrompt="1"/>
          </p:nvPr>
        </p:nvSpPr>
        <p:spPr>
          <a:xfrm>
            <a:off x="1399800" y="1122100"/>
            <a:ext cx="1464000" cy="66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9pPr>
          </a:lstStyle>
          <a:p>
            <a:r>
              <a:t>xx%</a:t>
            </a:r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3016200" y="3237148"/>
            <a:ext cx="2389200" cy="58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>
                <a:solidFill>
                  <a:schemeClr val="dk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cxnSp>
        <p:nvCxnSpPr>
          <p:cNvPr id="15" name="Google Shape;15;p3"/>
          <p:cNvCxnSpPr/>
          <p:nvPr/>
        </p:nvCxnSpPr>
        <p:spPr>
          <a:xfrm>
            <a:off x="2940913" y="-12"/>
            <a:ext cx="0" cy="27537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6" name="Google Shape;16;p3"/>
          <p:cNvGrpSpPr/>
          <p:nvPr/>
        </p:nvGrpSpPr>
        <p:grpSpPr>
          <a:xfrm flipH="1">
            <a:off x="0" y="2933725"/>
            <a:ext cx="2044793" cy="2209776"/>
            <a:chOff x="1384075" y="241450"/>
            <a:chExt cx="4822625" cy="5215425"/>
          </a:xfrm>
        </p:grpSpPr>
        <p:sp>
          <p:nvSpPr>
            <p:cNvPr id="17" name="Google Shape;17;p3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3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3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3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3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3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3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3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3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3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3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3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3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3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3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3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3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3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3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3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3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3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3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3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3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3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3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3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3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3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" name="Google Shape;61;p3"/>
          <p:cNvGrpSpPr/>
          <p:nvPr/>
        </p:nvGrpSpPr>
        <p:grpSpPr>
          <a:xfrm flipH="1">
            <a:off x="6934090" y="-76200"/>
            <a:ext cx="2286103" cy="2895537"/>
            <a:chOff x="-26858" y="-227337"/>
            <a:chExt cx="2186403" cy="2757917"/>
          </a:xfrm>
        </p:grpSpPr>
        <p:sp>
          <p:nvSpPr>
            <p:cNvPr id="62" name="Google Shape;62;p3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3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3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3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3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3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3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3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3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3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3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76;p3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3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3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3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3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3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3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3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3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3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3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3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3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3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3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92;p3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93;p3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3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3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3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3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3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99;p3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3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3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4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04" name="Google Shape;104;p4"/>
          <p:cNvCxnSpPr/>
          <p:nvPr/>
        </p:nvCxnSpPr>
        <p:spPr>
          <a:xfrm>
            <a:off x="498025" y="-63925"/>
            <a:ext cx="0" cy="1124100"/>
          </a:xfrm>
          <a:prstGeom prst="straightConnector1">
            <a:avLst/>
          </a:prstGeom>
          <a:noFill/>
          <a:ln w="2857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5" name="Google Shape;105;p4"/>
          <p:cNvSpPr txBox="1">
            <a:spLocks noGrp="1"/>
          </p:cNvSpPr>
          <p:nvPr>
            <p:ph type="subTitle" idx="1"/>
          </p:nvPr>
        </p:nvSpPr>
        <p:spPr>
          <a:xfrm>
            <a:off x="770700" y="1216175"/>
            <a:ext cx="7662600" cy="339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000"/>
              <a:buAutoNum type="arabicPeriod"/>
              <a:defRPr sz="1000"/>
            </a:lvl1pPr>
            <a:lvl2pPr lvl="1" rtl="0">
              <a:spcBef>
                <a:spcPts val="1600"/>
              </a:spcBef>
              <a:spcAft>
                <a:spcPts val="0"/>
              </a:spcAft>
              <a:buSzPts val="1000"/>
              <a:buNone/>
              <a:defRPr sz="1000"/>
            </a:lvl2pPr>
            <a:lvl3pPr lvl="2" rtl="0">
              <a:spcBef>
                <a:spcPts val="1600"/>
              </a:spcBef>
              <a:spcAft>
                <a:spcPts val="0"/>
              </a:spcAft>
              <a:buSzPts val="1000"/>
              <a:buAutoNum type="romanLcPeriod"/>
              <a:defRPr sz="1000"/>
            </a:lvl3pPr>
            <a:lvl4pPr lvl="3" rtl="0">
              <a:spcBef>
                <a:spcPts val="1600"/>
              </a:spcBef>
              <a:spcAft>
                <a:spcPts val="0"/>
              </a:spcAft>
              <a:buSzPts val="1000"/>
              <a:buAutoNum type="arabicPeriod"/>
              <a:defRPr sz="1000"/>
            </a:lvl4pPr>
            <a:lvl5pPr lvl="4" rtl="0">
              <a:spcBef>
                <a:spcPts val="1600"/>
              </a:spcBef>
              <a:spcAft>
                <a:spcPts val="0"/>
              </a:spcAft>
              <a:buSzPts val="1000"/>
              <a:buAutoNum type="alphaLcPeriod"/>
              <a:defRPr sz="1000"/>
            </a:lvl5pPr>
            <a:lvl6pPr lvl="5" rtl="0">
              <a:spcBef>
                <a:spcPts val="1600"/>
              </a:spcBef>
              <a:spcAft>
                <a:spcPts val="0"/>
              </a:spcAft>
              <a:buSzPts val="1000"/>
              <a:buAutoNum type="romanLcPeriod"/>
              <a:defRPr sz="1000"/>
            </a:lvl6pPr>
            <a:lvl7pPr lvl="6" rtl="0">
              <a:spcBef>
                <a:spcPts val="1600"/>
              </a:spcBef>
              <a:spcAft>
                <a:spcPts val="0"/>
              </a:spcAft>
              <a:buSzPts val="1000"/>
              <a:buAutoNum type="arabicPeriod"/>
              <a:defRPr sz="1000"/>
            </a:lvl7pPr>
            <a:lvl8pPr lvl="7" rtl="0">
              <a:spcBef>
                <a:spcPts val="1600"/>
              </a:spcBef>
              <a:spcAft>
                <a:spcPts val="0"/>
              </a:spcAft>
              <a:buSzPts val="1000"/>
              <a:buAutoNum type="alphaLcPeriod"/>
              <a:defRPr sz="1000"/>
            </a:lvl8pPr>
            <a:lvl9pPr lvl="8" rtl="0">
              <a:spcBef>
                <a:spcPts val="1600"/>
              </a:spcBef>
              <a:spcAft>
                <a:spcPts val="1600"/>
              </a:spcAft>
              <a:buSzPts val="1000"/>
              <a:buAutoNum type="romanLcPeriod"/>
              <a:defRPr sz="1000"/>
            </a:lvl9pPr>
          </a:lstStyle>
          <a:p>
            <a:endParaRPr/>
          </a:p>
        </p:txBody>
      </p:sp>
      <p:grpSp>
        <p:nvGrpSpPr>
          <p:cNvPr id="106" name="Google Shape;106;p4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107" name="Google Shape;107;p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09;p4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4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4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4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4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4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4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4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4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4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4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4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4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6"/>
          <p:cNvSpPr txBox="1">
            <a:spLocks noGrp="1"/>
          </p:cNvSpPr>
          <p:nvPr>
            <p:ph type="ctrTitle"/>
          </p:nvPr>
        </p:nvSpPr>
        <p:spPr>
          <a:xfrm>
            <a:off x="4572001" y="468450"/>
            <a:ext cx="37899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65" name="Google Shape;165;p6"/>
          <p:cNvCxnSpPr/>
          <p:nvPr/>
        </p:nvCxnSpPr>
        <p:spPr>
          <a:xfrm>
            <a:off x="8634675" y="-1604650"/>
            <a:ext cx="0" cy="26649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66" name="Google Shape;166;p6"/>
          <p:cNvGrpSpPr/>
          <p:nvPr/>
        </p:nvGrpSpPr>
        <p:grpSpPr>
          <a:xfrm rot="-5400000">
            <a:off x="665620" y="3611830"/>
            <a:ext cx="877851" cy="2209091"/>
            <a:chOff x="-26858" y="-227337"/>
            <a:chExt cx="1093215" cy="2757917"/>
          </a:xfrm>
        </p:grpSpPr>
        <p:sp>
          <p:nvSpPr>
            <p:cNvPr id="167" name="Google Shape;167;p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168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69;p6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170;p6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171;p6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172;p6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6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6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6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6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6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6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6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6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188;p6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7"/>
          <p:cNvSpPr txBox="1">
            <a:spLocks noGrp="1"/>
          </p:cNvSpPr>
          <p:nvPr>
            <p:ph type="title"/>
          </p:nvPr>
        </p:nvSpPr>
        <p:spPr>
          <a:xfrm>
            <a:off x="5355638" y="1441125"/>
            <a:ext cx="2944500" cy="98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91" name="Google Shape;191;p7"/>
          <p:cNvSpPr txBox="1">
            <a:spLocks noGrp="1"/>
          </p:cNvSpPr>
          <p:nvPr>
            <p:ph type="subTitle" idx="1"/>
          </p:nvPr>
        </p:nvSpPr>
        <p:spPr>
          <a:xfrm>
            <a:off x="5355638" y="2577675"/>
            <a:ext cx="2944500" cy="112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2" name="Google Shape;192;p7"/>
          <p:cNvCxnSpPr/>
          <p:nvPr/>
        </p:nvCxnSpPr>
        <p:spPr>
          <a:xfrm>
            <a:off x="5360975" y="2502600"/>
            <a:ext cx="3783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93" name="Google Shape;193;p7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194" name="Google Shape;194;p7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7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7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7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199;p7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00;p7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7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7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04;p7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06;p7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7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7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09;p7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10;p7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7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7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13;p7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7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8"/>
          <p:cNvSpPr txBox="1">
            <a:spLocks noGrp="1"/>
          </p:cNvSpPr>
          <p:nvPr>
            <p:ph type="title"/>
          </p:nvPr>
        </p:nvSpPr>
        <p:spPr>
          <a:xfrm>
            <a:off x="1869525" y="1705650"/>
            <a:ext cx="5405100" cy="1732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grpSp>
        <p:nvGrpSpPr>
          <p:cNvPr id="218" name="Google Shape;218;p8"/>
          <p:cNvGrpSpPr/>
          <p:nvPr/>
        </p:nvGrpSpPr>
        <p:grpSpPr>
          <a:xfrm>
            <a:off x="7099200" y="2933725"/>
            <a:ext cx="2044793" cy="2209776"/>
            <a:chOff x="1384075" y="241450"/>
            <a:chExt cx="4822625" cy="5215425"/>
          </a:xfrm>
        </p:grpSpPr>
        <p:sp>
          <p:nvSpPr>
            <p:cNvPr id="219" name="Google Shape;219;p8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8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8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8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8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8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8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8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8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8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8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8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8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8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8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8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8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8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8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8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8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8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8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8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8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8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8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8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8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8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8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8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8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8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8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8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8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8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8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8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3" name="Google Shape;263;p8"/>
          <p:cNvGrpSpPr/>
          <p:nvPr/>
        </p:nvGrpSpPr>
        <p:grpSpPr>
          <a:xfrm>
            <a:off x="-76200" y="-76200"/>
            <a:ext cx="2286103" cy="2895537"/>
            <a:chOff x="-26858" y="-227337"/>
            <a:chExt cx="2186403" cy="2757917"/>
          </a:xfrm>
        </p:grpSpPr>
        <p:sp>
          <p:nvSpPr>
            <p:cNvPr id="264" name="Google Shape;264;p8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8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8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" name="Google Shape;268;p8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8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270;p8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271;p8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8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8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8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8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8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8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8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8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8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8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8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8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8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8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8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8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8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8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293;p8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294;p8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8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8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8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8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8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8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8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8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03;p8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9"/>
          <p:cNvSpPr txBox="1">
            <a:spLocks noGrp="1"/>
          </p:cNvSpPr>
          <p:nvPr>
            <p:ph type="title"/>
          </p:nvPr>
        </p:nvSpPr>
        <p:spPr>
          <a:xfrm>
            <a:off x="713225" y="978238"/>
            <a:ext cx="3147300" cy="2291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06" name="Google Shape;306;p9"/>
          <p:cNvSpPr txBox="1">
            <a:spLocks noGrp="1"/>
          </p:cNvSpPr>
          <p:nvPr>
            <p:ph type="subTitle" idx="1"/>
          </p:nvPr>
        </p:nvSpPr>
        <p:spPr>
          <a:xfrm>
            <a:off x="713225" y="3357063"/>
            <a:ext cx="3147300" cy="80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grpSp>
        <p:nvGrpSpPr>
          <p:cNvPr id="307" name="Google Shape;307;p9"/>
          <p:cNvGrpSpPr/>
          <p:nvPr/>
        </p:nvGrpSpPr>
        <p:grpSpPr>
          <a:xfrm flipH="1">
            <a:off x="4743766" y="-1156952"/>
            <a:ext cx="4451259" cy="6129060"/>
            <a:chOff x="-37799" y="-227337"/>
            <a:chExt cx="1833529" cy="2524637"/>
          </a:xfrm>
        </p:grpSpPr>
        <p:sp>
          <p:nvSpPr>
            <p:cNvPr id="308" name="Google Shape;308;p9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9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9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9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9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9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9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9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9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9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9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9"/>
            <p:cNvSpPr/>
            <p:nvPr/>
          </p:nvSpPr>
          <p:spPr>
            <a:xfrm rot="10800000">
              <a:off x="-37799" y="811313"/>
              <a:ext cx="381833" cy="44126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9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9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9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9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9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9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26;p9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9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9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9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9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1;p9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2;p9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3;p9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;p9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5;p9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6;p9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7;p9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9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9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9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9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9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4" name="Google Shape;344;p10"/>
          <p:cNvGrpSpPr/>
          <p:nvPr/>
        </p:nvGrpSpPr>
        <p:grpSpPr>
          <a:xfrm>
            <a:off x="-6570" y="518767"/>
            <a:ext cx="2604982" cy="2256975"/>
            <a:chOff x="-8580" y="487809"/>
            <a:chExt cx="2894424" cy="2507193"/>
          </a:xfrm>
        </p:grpSpPr>
        <p:sp>
          <p:nvSpPr>
            <p:cNvPr id="345" name="Google Shape;345;p10"/>
            <p:cNvSpPr/>
            <p:nvPr/>
          </p:nvSpPr>
          <p:spPr>
            <a:xfrm rot="10800000">
              <a:off x="-8580" y="2159250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10"/>
            <p:cNvSpPr/>
            <p:nvPr/>
          </p:nvSpPr>
          <p:spPr>
            <a:xfrm rot="10800000">
              <a:off x="-8580" y="903907"/>
              <a:ext cx="726263" cy="125540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10"/>
            <p:cNvSpPr/>
            <p:nvPr/>
          </p:nvSpPr>
          <p:spPr>
            <a:xfrm rot="10800000">
              <a:off x="-8580" y="487809"/>
              <a:ext cx="722770" cy="835778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10"/>
            <p:cNvSpPr/>
            <p:nvPr/>
          </p:nvSpPr>
          <p:spPr>
            <a:xfrm rot="10800000">
              <a:off x="-8580" y="1739643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10"/>
            <p:cNvSpPr/>
            <p:nvPr/>
          </p:nvSpPr>
          <p:spPr>
            <a:xfrm rot="10800000">
              <a:off x="-8580" y="2159250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10"/>
            <p:cNvSpPr/>
            <p:nvPr/>
          </p:nvSpPr>
          <p:spPr>
            <a:xfrm rot="10800000">
              <a:off x="717603" y="487809"/>
              <a:ext cx="1445514" cy="835778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10"/>
            <p:cNvSpPr/>
            <p:nvPr/>
          </p:nvSpPr>
          <p:spPr>
            <a:xfrm rot="10800000">
              <a:off x="717630" y="903907"/>
              <a:ext cx="722770" cy="125540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10"/>
            <p:cNvSpPr/>
            <p:nvPr/>
          </p:nvSpPr>
          <p:spPr>
            <a:xfrm rot="10800000">
              <a:off x="717630" y="1739643"/>
              <a:ext cx="722770" cy="835752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10"/>
            <p:cNvSpPr/>
            <p:nvPr/>
          </p:nvSpPr>
          <p:spPr>
            <a:xfrm rot="10800000">
              <a:off x="-8580" y="1739643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10"/>
            <p:cNvSpPr/>
            <p:nvPr/>
          </p:nvSpPr>
          <p:spPr>
            <a:xfrm rot="10800000">
              <a:off x="2163100" y="903904"/>
              <a:ext cx="722744" cy="835778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10"/>
            <p:cNvSpPr/>
            <p:nvPr/>
          </p:nvSpPr>
          <p:spPr>
            <a:xfrm rot="10800000" flipH="1">
              <a:off x="1442105" y="903907"/>
              <a:ext cx="722770" cy="125540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6" name="Google Shape;356;p10"/>
          <p:cNvSpPr/>
          <p:nvPr/>
        </p:nvSpPr>
        <p:spPr>
          <a:xfrm flipH="1">
            <a:off x="-1017193" y="881512"/>
            <a:ext cx="4269126" cy="4942773"/>
          </a:xfrm>
          <a:custGeom>
            <a:avLst/>
            <a:gdLst/>
            <a:ahLst/>
            <a:cxnLst/>
            <a:rect l="l" t="t" r="r" b="b"/>
            <a:pathLst>
              <a:path w="27521" h="31857" extrusionOk="0">
                <a:moveTo>
                  <a:pt x="1" y="0"/>
                </a:moveTo>
                <a:lnTo>
                  <a:pt x="1" y="31857"/>
                </a:lnTo>
                <a:lnTo>
                  <a:pt x="27520" y="15845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p10"/>
          <p:cNvSpPr txBox="1">
            <a:spLocks noGrp="1"/>
          </p:cNvSpPr>
          <p:nvPr>
            <p:ph type="title"/>
          </p:nvPr>
        </p:nvSpPr>
        <p:spPr>
          <a:xfrm>
            <a:off x="713225" y="2321675"/>
            <a:ext cx="2230800" cy="2286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11"/>
          <p:cNvSpPr txBox="1">
            <a:spLocks noGrp="1"/>
          </p:cNvSpPr>
          <p:nvPr>
            <p:ph type="title" hasCustomPrompt="1"/>
          </p:nvPr>
        </p:nvSpPr>
        <p:spPr>
          <a:xfrm>
            <a:off x="713225" y="2012563"/>
            <a:ext cx="7717500" cy="912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72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360" name="Google Shape;360;p11"/>
          <p:cNvSpPr txBox="1">
            <a:spLocks noGrp="1"/>
          </p:cNvSpPr>
          <p:nvPr>
            <p:ph type="subTitle" idx="1"/>
          </p:nvPr>
        </p:nvSpPr>
        <p:spPr>
          <a:xfrm>
            <a:off x="713225" y="2856738"/>
            <a:ext cx="7717500" cy="27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" name="Google Shape;361;p11"/>
          <p:cNvGrpSpPr/>
          <p:nvPr/>
        </p:nvGrpSpPr>
        <p:grpSpPr>
          <a:xfrm rot="-5400000">
            <a:off x="665620" y="3611830"/>
            <a:ext cx="877851" cy="2209091"/>
            <a:chOff x="-26858" y="-227337"/>
            <a:chExt cx="1093215" cy="2757917"/>
          </a:xfrm>
        </p:grpSpPr>
        <p:sp>
          <p:nvSpPr>
            <p:cNvPr id="362" name="Google Shape;362;p1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11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11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11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11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68;p1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69;p1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370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371;p11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372;p11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73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74;p1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11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76;p11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77;p11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11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11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80;p11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81;p1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82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83;p11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4" name="Google Shape;384;p11"/>
          <p:cNvGrpSpPr/>
          <p:nvPr/>
        </p:nvGrpSpPr>
        <p:grpSpPr>
          <a:xfrm rot="5400000">
            <a:off x="7648034" y="-312722"/>
            <a:ext cx="1209907" cy="1782035"/>
            <a:chOff x="700771" y="-227337"/>
            <a:chExt cx="1458774" cy="2138784"/>
          </a:xfrm>
        </p:grpSpPr>
        <p:sp>
          <p:nvSpPr>
            <p:cNvPr id="385" name="Google Shape;385;p1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86;p11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1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88;p11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89;p11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1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1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1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393;p11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394;p11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1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1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397;p11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398;p11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399;p11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400;p11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1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402;p11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11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822436-6726-4C47-AF46-DA6B396E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6186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7" imgW="498" imgH="499" progId="TCLayout.ActiveDocument.1">
                  <p:embed/>
                </p:oleObj>
              </mc:Choice>
              <mc:Fallback>
                <p:oleObj name="think-cell Slide" r:id="rId17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 SemiBold"/>
              <a:buNone/>
              <a:defRPr sz="2800">
                <a:solidFill>
                  <a:schemeClr val="dk1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2" r:id="rId11"/>
    <p:sldLayoutId id="2147483666" r:id="rId12"/>
    <p:sldLayoutId id="2147483667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0CE9B6-BEDC-4F5D-AD70-782C3CD190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88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6" name="Google Shape;846;p26"/>
          <p:cNvSpPr txBox="1">
            <a:spLocks noGrp="1"/>
          </p:cNvSpPr>
          <p:nvPr>
            <p:ph type="ctrTitle"/>
          </p:nvPr>
        </p:nvSpPr>
        <p:spPr>
          <a:xfrm>
            <a:off x="1445406" y="1048933"/>
            <a:ext cx="6692531" cy="205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5400" dirty="0" err="1"/>
              <a:t>iMDb</a:t>
            </a:r>
            <a:r>
              <a:rPr lang="en-US" sz="5400" dirty="0"/>
              <a:t> Movie Scraping and Regression Analysis</a:t>
            </a:r>
            <a:br>
              <a:rPr lang="en-US" sz="5400" dirty="0"/>
            </a:br>
            <a:endParaRPr sz="5400" dirty="0"/>
          </a:p>
        </p:txBody>
      </p:sp>
      <p:sp>
        <p:nvSpPr>
          <p:cNvPr id="847" name="Google Shape;847;p26"/>
          <p:cNvSpPr txBox="1">
            <a:spLocks noGrp="1"/>
          </p:cNvSpPr>
          <p:nvPr>
            <p:ph type="subTitle" idx="1"/>
          </p:nvPr>
        </p:nvSpPr>
        <p:spPr>
          <a:xfrm>
            <a:off x="2925950" y="3296175"/>
            <a:ext cx="3292200" cy="103482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elevred b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BRAHIM ALHAMMAD</a:t>
            </a:r>
          </a:p>
          <a:p>
            <a:pPr marL="0" indent="0"/>
            <a:endParaRPr lang="en" dirty="0"/>
          </a:p>
        </p:txBody>
      </p:sp>
      <p:sp>
        <p:nvSpPr>
          <p:cNvPr id="848" name="Google Shape;848;p26"/>
          <p:cNvSpPr/>
          <p:nvPr/>
        </p:nvSpPr>
        <p:spPr>
          <a:xfrm rot="10800000">
            <a:off x="-76200" y="1690558"/>
            <a:ext cx="382257" cy="441707"/>
          </a:xfrm>
          <a:custGeom>
            <a:avLst/>
            <a:gdLst/>
            <a:ahLst/>
            <a:cxnLst/>
            <a:rect l="l" t="t" r="r" b="b"/>
            <a:pathLst>
              <a:path w="27654" h="31824" extrusionOk="0">
                <a:moveTo>
                  <a:pt x="27653" y="1"/>
                </a:moveTo>
                <a:lnTo>
                  <a:pt x="0" y="15845"/>
                </a:lnTo>
                <a:lnTo>
                  <a:pt x="27653" y="31823"/>
                </a:lnTo>
                <a:lnTo>
                  <a:pt x="2765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9" name="Google Shape;849;p26"/>
          <p:cNvSpPr/>
          <p:nvPr/>
        </p:nvSpPr>
        <p:spPr>
          <a:xfrm rot="10800000">
            <a:off x="-76202" y="1248850"/>
            <a:ext cx="382247" cy="663492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0" y="0"/>
                </a:moveTo>
                <a:lnTo>
                  <a:pt x="0" y="31823"/>
                </a:lnTo>
                <a:lnTo>
                  <a:pt x="134" y="31956"/>
                </a:lnTo>
                <a:lnTo>
                  <a:pt x="27653" y="47801"/>
                </a:lnTo>
                <a:lnTo>
                  <a:pt x="27653" y="1597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0" name="Google Shape;850;p26"/>
          <p:cNvSpPr/>
          <p:nvPr/>
        </p:nvSpPr>
        <p:spPr>
          <a:xfrm rot="10800000">
            <a:off x="-76200" y="143724"/>
            <a:ext cx="382257" cy="663476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27653" y="1"/>
                </a:moveTo>
                <a:lnTo>
                  <a:pt x="0" y="15979"/>
                </a:lnTo>
                <a:lnTo>
                  <a:pt x="0" y="47802"/>
                </a:lnTo>
                <a:lnTo>
                  <a:pt x="134" y="47802"/>
                </a:lnTo>
                <a:lnTo>
                  <a:pt x="27653" y="31824"/>
                </a:lnTo>
                <a:lnTo>
                  <a:pt x="2765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1" name="Google Shape;851;p26"/>
          <p:cNvSpPr/>
          <p:nvPr/>
        </p:nvSpPr>
        <p:spPr>
          <a:xfrm rot="10800000">
            <a:off x="-76202" y="-76210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0" y="1"/>
                </a:moveTo>
                <a:lnTo>
                  <a:pt x="1" y="15979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2" name="Google Shape;852;p26"/>
          <p:cNvSpPr/>
          <p:nvPr/>
        </p:nvSpPr>
        <p:spPr>
          <a:xfrm rot="10800000">
            <a:off x="-76191" y="807176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27653" y="0"/>
                </a:moveTo>
                <a:lnTo>
                  <a:pt x="0" y="15978"/>
                </a:lnTo>
                <a:lnTo>
                  <a:pt x="27653" y="31823"/>
                </a:lnTo>
                <a:lnTo>
                  <a:pt x="27653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3" name="Google Shape;853;p26"/>
          <p:cNvSpPr/>
          <p:nvPr/>
        </p:nvSpPr>
        <p:spPr>
          <a:xfrm rot="10800000">
            <a:off x="686447" y="1690558"/>
            <a:ext cx="380418" cy="44170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1" y="1"/>
                </a:moveTo>
                <a:lnTo>
                  <a:pt x="1" y="15845"/>
                </a:lnTo>
                <a:lnTo>
                  <a:pt x="27521" y="31823"/>
                </a:lnTo>
                <a:lnTo>
                  <a:pt x="27521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4" name="Google Shape;854;p26"/>
          <p:cNvSpPr/>
          <p:nvPr/>
        </p:nvSpPr>
        <p:spPr>
          <a:xfrm rot="10800000">
            <a:off x="684609" y="1248865"/>
            <a:ext cx="384095" cy="661630"/>
          </a:xfrm>
          <a:custGeom>
            <a:avLst/>
            <a:gdLst/>
            <a:ahLst/>
            <a:cxnLst/>
            <a:rect l="l" t="t" r="r" b="b"/>
            <a:pathLst>
              <a:path w="27787" h="47669" extrusionOk="0">
                <a:moveTo>
                  <a:pt x="1" y="1"/>
                </a:moveTo>
                <a:lnTo>
                  <a:pt x="134" y="31823"/>
                </a:lnTo>
                <a:lnTo>
                  <a:pt x="27787" y="47668"/>
                </a:lnTo>
                <a:lnTo>
                  <a:pt x="27654" y="15845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5" name="Google Shape;855;p26"/>
          <p:cNvSpPr/>
          <p:nvPr/>
        </p:nvSpPr>
        <p:spPr>
          <a:xfrm rot="10800000">
            <a:off x="306052" y="1248850"/>
            <a:ext cx="380409" cy="661646"/>
          </a:xfrm>
          <a:custGeom>
            <a:avLst/>
            <a:gdLst/>
            <a:ahLst/>
            <a:cxnLst/>
            <a:rect l="l" t="t" r="r" b="b"/>
            <a:pathLst>
              <a:path w="27521" h="47669" extrusionOk="0">
                <a:moveTo>
                  <a:pt x="27520" y="1"/>
                </a:moveTo>
                <a:lnTo>
                  <a:pt x="1" y="15845"/>
                </a:lnTo>
                <a:lnTo>
                  <a:pt x="1" y="47668"/>
                </a:lnTo>
                <a:lnTo>
                  <a:pt x="27520" y="31823"/>
                </a:lnTo>
                <a:lnTo>
                  <a:pt x="27520" y="31690"/>
                </a:lnTo>
                <a:lnTo>
                  <a:pt x="27520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6" name="Google Shape;856;p26"/>
          <p:cNvSpPr/>
          <p:nvPr/>
        </p:nvSpPr>
        <p:spPr>
          <a:xfrm rot="10800000">
            <a:off x="680965" y="2692002"/>
            <a:ext cx="111133" cy="127335"/>
          </a:xfrm>
          <a:custGeom>
            <a:avLst/>
            <a:gdLst/>
            <a:ahLst/>
            <a:cxnLst/>
            <a:rect l="l" t="t" r="r" b="b"/>
            <a:pathLst>
              <a:path w="8040" h="9174" extrusionOk="0">
                <a:moveTo>
                  <a:pt x="8040" y="0"/>
                </a:moveTo>
                <a:lnTo>
                  <a:pt x="1" y="4604"/>
                </a:lnTo>
                <a:lnTo>
                  <a:pt x="8040" y="9174"/>
                </a:lnTo>
                <a:lnTo>
                  <a:pt x="804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7" name="Google Shape;857;p26"/>
          <p:cNvSpPr/>
          <p:nvPr/>
        </p:nvSpPr>
        <p:spPr>
          <a:xfrm rot="10800000">
            <a:off x="306043" y="2132251"/>
            <a:ext cx="380418" cy="442165"/>
          </a:xfrm>
          <a:custGeom>
            <a:avLst/>
            <a:gdLst/>
            <a:ahLst/>
            <a:cxnLst/>
            <a:rect l="l" t="t" r="r" b="b"/>
            <a:pathLst>
              <a:path w="27521" h="31857" extrusionOk="0">
                <a:moveTo>
                  <a:pt x="1" y="0"/>
                </a:moveTo>
                <a:lnTo>
                  <a:pt x="1" y="31857"/>
                </a:lnTo>
                <a:lnTo>
                  <a:pt x="27520" y="15845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8" name="Google Shape;858;p26"/>
          <p:cNvSpPr/>
          <p:nvPr/>
        </p:nvSpPr>
        <p:spPr>
          <a:xfrm rot="10800000">
            <a:off x="306043" y="-76200"/>
            <a:ext cx="760822" cy="441707"/>
          </a:xfrm>
          <a:custGeom>
            <a:avLst/>
            <a:gdLst/>
            <a:ahLst/>
            <a:cxnLst/>
            <a:rect l="l" t="t" r="r" b="b"/>
            <a:pathLst>
              <a:path w="55041" h="31824" extrusionOk="0">
                <a:moveTo>
                  <a:pt x="27521" y="1"/>
                </a:moveTo>
                <a:lnTo>
                  <a:pt x="1" y="15979"/>
                </a:lnTo>
                <a:lnTo>
                  <a:pt x="27521" y="31823"/>
                </a:lnTo>
                <a:lnTo>
                  <a:pt x="55040" y="15979"/>
                </a:lnTo>
                <a:lnTo>
                  <a:pt x="27521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9" name="Google Shape;859;p26"/>
          <p:cNvSpPr/>
          <p:nvPr/>
        </p:nvSpPr>
        <p:spPr>
          <a:xfrm rot="10800000">
            <a:off x="306043" y="143724"/>
            <a:ext cx="380418" cy="663476"/>
          </a:xfrm>
          <a:custGeom>
            <a:avLst/>
            <a:gdLst/>
            <a:ahLst/>
            <a:cxnLst/>
            <a:rect l="l" t="t" r="r" b="b"/>
            <a:pathLst>
              <a:path w="27521" h="47802" extrusionOk="0">
                <a:moveTo>
                  <a:pt x="1" y="1"/>
                </a:moveTo>
                <a:lnTo>
                  <a:pt x="1" y="31824"/>
                </a:lnTo>
                <a:lnTo>
                  <a:pt x="27520" y="47802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0" name="Google Shape;860;p26"/>
          <p:cNvSpPr/>
          <p:nvPr/>
        </p:nvSpPr>
        <p:spPr>
          <a:xfrm rot="10800000">
            <a:off x="306043" y="585416"/>
            <a:ext cx="380418" cy="441693"/>
          </a:xfrm>
          <a:custGeom>
            <a:avLst/>
            <a:gdLst/>
            <a:ahLst/>
            <a:cxnLst/>
            <a:rect l="l" t="t" r="r" b="b"/>
            <a:pathLst>
              <a:path w="27521" h="31823" extrusionOk="0">
                <a:moveTo>
                  <a:pt x="27520" y="0"/>
                </a:moveTo>
                <a:lnTo>
                  <a:pt x="1" y="15845"/>
                </a:lnTo>
                <a:lnTo>
                  <a:pt x="27520" y="31823"/>
                </a:lnTo>
                <a:lnTo>
                  <a:pt x="2752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1" name="Google Shape;861;p26"/>
          <p:cNvSpPr/>
          <p:nvPr/>
        </p:nvSpPr>
        <p:spPr>
          <a:xfrm rot="10800000">
            <a:off x="-76191" y="585406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0" y="0"/>
                </a:moveTo>
                <a:lnTo>
                  <a:pt x="0" y="31823"/>
                </a:lnTo>
                <a:lnTo>
                  <a:pt x="27653" y="15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2" name="Google Shape;862;p26"/>
          <p:cNvSpPr/>
          <p:nvPr/>
        </p:nvSpPr>
        <p:spPr>
          <a:xfrm rot="10800000">
            <a:off x="-76202" y="1027085"/>
            <a:ext cx="382247" cy="443577"/>
          </a:xfrm>
          <a:custGeom>
            <a:avLst/>
            <a:gdLst/>
            <a:ahLst/>
            <a:cxnLst/>
            <a:rect l="l" t="t" r="r" b="b"/>
            <a:pathLst>
              <a:path w="27654" h="31958" extrusionOk="0">
                <a:moveTo>
                  <a:pt x="0" y="1"/>
                </a:moveTo>
                <a:lnTo>
                  <a:pt x="0" y="31957"/>
                </a:lnTo>
                <a:lnTo>
                  <a:pt x="27653" y="15979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3" name="Google Shape;863;p26"/>
          <p:cNvSpPr/>
          <p:nvPr/>
        </p:nvSpPr>
        <p:spPr>
          <a:xfrm rot="10800000">
            <a:off x="306050" y="807171"/>
            <a:ext cx="760804" cy="663492"/>
          </a:xfrm>
          <a:custGeom>
            <a:avLst/>
            <a:gdLst/>
            <a:ahLst/>
            <a:cxnLst/>
            <a:rect l="l" t="t" r="r" b="b"/>
            <a:pathLst>
              <a:path w="55041" h="47802" extrusionOk="0">
                <a:moveTo>
                  <a:pt x="55040" y="1"/>
                </a:moveTo>
                <a:lnTo>
                  <a:pt x="27521" y="15979"/>
                </a:lnTo>
                <a:lnTo>
                  <a:pt x="1" y="31957"/>
                </a:lnTo>
                <a:lnTo>
                  <a:pt x="27521" y="47802"/>
                </a:lnTo>
                <a:lnTo>
                  <a:pt x="55040" y="31957"/>
                </a:lnTo>
                <a:lnTo>
                  <a:pt x="55040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4" name="Google Shape;864;p26"/>
          <p:cNvSpPr/>
          <p:nvPr/>
        </p:nvSpPr>
        <p:spPr>
          <a:xfrm rot="10800000">
            <a:off x="1449103" y="1690548"/>
            <a:ext cx="380395" cy="441717"/>
          </a:xfrm>
          <a:custGeom>
            <a:avLst/>
            <a:gdLst/>
            <a:ahLst/>
            <a:cxnLst/>
            <a:rect l="l" t="t" r="r" b="b"/>
            <a:pathLst>
              <a:path w="27520" h="31824" extrusionOk="0">
                <a:moveTo>
                  <a:pt x="27520" y="1"/>
                </a:moveTo>
                <a:lnTo>
                  <a:pt x="0" y="15845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5" name="Google Shape;865;p26"/>
          <p:cNvSpPr/>
          <p:nvPr/>
        </p:nvSpPr>
        <p:spPr>
          <a:xfrm rot="10800000">
            <a:off x="1708691" y="1366463"/>
            <a:ext cx="178448" cy="206507"/>
          </a:xfrm>
          <a:custGeom>
            <a:avLst/>
            <a:gdLst/>
            <a:ahLst/>
            <a:cxnLst/>
            <a:rect l="l" t="t" r="r" b="b"/>
            <a:pathLst>
              <a:path w="12910" h="14878" extrusionOk="0">
                <a:moveTo>
                  <a:pt x="1" y="0"/>
                </a:moveTo>
                <a:lnTo>
                  <a:pt x="1" y="14877"/>
                </a:lnTo>
                <a:lnTo>
                  <a:pt x="12910" y="750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6" name="Google Shape;866;p26"/>
          <p:cNvSpPr/>
          <p:nvPr/>
        </p:nvSpPr>
        <p:spPr>
          <a:xfrm rot="10800000">
            <a:off x="1712381" y="2028081"/>
            <a:ext cx="120809" cy="141229"/>
          </a:xfrm>
          <a:custGeom>
            <a:avLst/>
            <a:gdLst/>
            <a:ahLst/>
            <a:cxnLst/>
            <a:rect l="l" t="t" r="r" b="b"/>
            <a:pathLst>
              <a:path w="8740" h="10175" extrusionOk="0">
                <a:moveTo>
                  <a:pt x="0" y="1"/>
                </a:moveTo>
                <a:lnTo>
                  <a:pt x="0" y="10175"/>
                </a:lnTo>
                <a:lnTo>
                  <a:pt x="8740" y="5005"/>
                </a:lnTo>
                <a:lnTo>
                  <a:pt x="0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7" name="Google Shape;867;p26"/>
          <p:cNvSpPr/>
          <p:nvPr/>
        </p:nvSpPr>
        <p:spPr>
          <a:xfrm rot="10800000">
            <a:off x="1066851" y="1248865"/>
            <a:ext cx="382257" cy="661630"/>
          </a:xfrm>
          <a:custGeom>
            <a:avLst/>
            <a:gdLst/>
            <a:ahLst/>
            <a:cxnLst/>
            <a:rect l="l" t="t" r="r" b="b"/>
            <a:pathLst>
              <a:path w="27654" h="47669" extrusionOk="0">
                <a:moveTo>
                  <a:pt x="27654" y="1"/>
                </a:moveTo>
                <a:lnTo>
                  <a:pt x="1" y="15845"/>
                </a:lnTo>
                <a:lnTo>
                  <a:pt x="1" y="47668"/>
                </a:lnTo>
                <a:lnTo>
                  <a:pt x="27521" y="31823"/>
                </a:lnTo>
                <a:lnTo>
                  <a:pt x="27654" y="31690"/>
                </a:lnTo>
                <a:lnTo>
                  <a:pt x="27654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8" name="Google Shape;868;p26"/>
          <p:cNvSpPr/>
          <p:nvPr/>
        </p:nvSpPr>
        <p:spPr>
          <a:xfrm rot="10800000">
            <a:off x="1066861" y="1690548"/>
            <a:ext cx="382247" cy="441717"/>
          </a:xfrm>
          <a:custGeom>
            <a:avLst/>
            <a:gdLst/>
            <a:ahLst/>
            <a:cxnLst/>
            <a:rect l="l" t="t" r="r" b="b"/>
            <a:pathLst>
              <a:path w="27654" h="31824" extrusionOk="0">
                <a:moveTo>
                  <a:pt x="1" y="1"/>
                </a:moveTo>
                <a:lnTo>
                  <a:pt x="1" y="31823"/>
                </a:lnTo>
                <a:lnTo>
                  <a:pt x="27654" y="15979"/>
                </a:lnTo>
                <a:lnTo>
                  <a:pt x="27654" y="15845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9" name="Google Shape;869;p26"/>
          <p:cNvSpPr/>
          <p:nvPr/>
        </p:nvSpPr>
        <p:spPr>
          <a:xfrm rot="10800000">
            <a:off x="1449103" y="365483"/>
            <a:ext cx="380395" cy="441717"/>
          </a:xfrm>
          <a:custGeom>
            <a:avLst/>
            <a:gdLst/>
            <a:ahLst/>
            <a:cxnLst/>
            <a:rect l="l" t="t" r="r" b="b"/>
            <a:pathLst>
              <a:path w="27520" h="31824" extrusionOk="0">
                <a:moveTo>
                  <a:pt x="27520" y="1"/>
                </a:moveTo>
                <a:lnTo>
                  <a:pt x="0" y="15979"/>
                </a:lnTo>
                <a:lnTo>
                  <a:pt x="27520" y="31824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0" name="Google Shape;870;p26"/>
          <p:cNvSpPr/>
          <p:nvPr/>
        </p:nvSpPr>
        <p:spPr>
          <a:xfrm rot="10800000">
            <a:off x="2069765" y="-76210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1" y="1"/>
                </a:moveTo>
                <a:lnTo>
                  <a:pt x="1" y="31823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1" name="Google Shape;871;p26"/>
          <p:cNvSpPr/>
          <p:nvPr/>
        </p:nvSpPr>
        <p:spPr>
          <a:xfrm rot="10800000">
            <a:off x="1066851" y="-76200"/>
            <a:ext cx="382257" cy="883400"/>
          </a:xfrm>
          <a:custGeom>
            <a:avLst/>
            <a:gdLst/>
            <a:ahLst/>
            <a:cxnLst/>
            <a:rect l="l" t="t" r="r" b="b"/>
            <a:pathLst>
              <a:path w="27654" h="63647" extrusionOk="0">
                <a:moveTo>
                  <a:pt x="1" y="1"/>
                </a:moveTo>
                <a:lnTo>
                  <a:pt x="1" y="31824"/>
                </a:lnTo>
                <a:lnTo>
                  <a:pt x="1" y="63646"/>
                </a:lnTo>
                <a:lnTo>
                  <a:pt x="27521" y="47802"/>
                </a:lnTo>
                <a:lnTo>
                  <a:pt x="27654" y="47802"/>
                </a:lnTo>
                <a:lnTo>
                  <a:pt x="27654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2" name="Google Shape;872;p26"/>
          <p:cNvSpPr/>
          <p:nvPr/>
        </p:nvSpPr>
        <p:spPr>
          <a:xfrm rot="10800000">
            <a:off x="1066851" y="585416"/>
            <a:ext cx="382257" cy="44169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27654" y="0"/>
                </a:moveTo>
                <a:lnTo>
                  <a:pt x="1" y="15845"/>
                </a:lnTo>
                <a:lnTo>
                  <a:pt x="27654" y="31823"/>
                </a:lnTo>
                <a:lnTo>
                  <a:pt x="2765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3" name="Google Shape;873;p26"/>
          <p:cNvSpPr/>
          <p:nvPr/>
        </p:nvSpPr>
        <p:spPr>
          <a:xfrm rot="10800000">
            <a:off x="686445" y="143703"/>
            <a:ext cx="382247" cy="883406"/>
          </a:xfrm>
          <a:custGeom>
            <a:avLst/>
            <a:gdLst/>
            <a:ahLst/>
            <a:cxnLst/>
            <a:rect l="l" t="t" r="r" b="b"/>
            <a:pathLst>
              <a:path w="27654" h="63646" extrusionOk="0">
                <a:moveTo>
                  <a:pt x="134" y="0"/>
                </a:moveTo>
                <a:lnTo>
                  <a:pt x="1" y="31823"/>
                </a:lnTo>
                <a:lnTo>
                  <a:pt x="134" y="31823"/>
                </a:lnTo>
                <a:lnTo>
                  <a:pt x="134" y="63646"/>
                </a:lnTo>
                <a:lnTo>
                  <a:pt x="27654" y="47668"/>
                </a:lnTo>
                <a:lnTo>
                  <a:pt x="27654" y="1584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4" name="Google Shape;874;p26"/>
          <p:cNvSpPr/>
          <p:nvPr/>
        </p:nvSpPr>
        <p:spPr>
          <a:xfrm rot="10800000">
            <a:off x="686465" y="807171"/>
            <a:ext cx="762643" cy="663492"/>
          </a:xfrm>
          <a:custGeom>
            <a:avLst/>
            <a:gdLst/>
            <a:ahLst/>
            <a:cxnLst/>
            <a:rect l="l" t="t" r="r" b="b"/>
            <a:pathLst>
              <a:path w="55174" h="47802" extrusionOk="0">
                <a:moveTo>
                  <a:pt x="27654" y="1"/>
                </a:moveTo>
                <a:lnTo>
                  <a:pt x="1" y="15979"/>
                </a:lnTo>
                <a:lnTo>
                  <a:pt x="1" y="47802"/>
                </a:lnTo>
                <a:lnTo>
                  <a:pt x="27654" y="31957"/>
                </a:lnTo>
                <a:lnTo>
                  <a:pt x="55174" y="15979"/>
                </a:lnTo>
                <a:lnTo>
                  <a:pt x="2765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5" name="Google Shape;875;p26"/>
          <p:cNvSpPr/>
          <p:nvPr/>
        </p:nvSpPr>
        <p:spPr>
          <a:xfrm>
            <a:off x="8761740" y="4256839"/>
            <a:ext cx="382247" cy="663492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27653" y="1"/>
                </a:moveTo>
                <a:lnTo>
                  <a:pt x="0" y="15979"/>
                </a:lnTo>
                <a:lnTo>
                  <a:pt x="0" y="47802"/>
                </a:lnTo>
                <a:lnTo>
                  <a:pt x="134" y="47802"/>
                </a:lnTo>
                <a:lnTo>
                  <a:pt x="27653" y="31824"/>
                </a:lnTo>
                <a:lnTo>
                  <a:pt x="2765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6" name="Google Shape;876;p26"/>
          <p:cNvSpPr/>
          <p:nvPr/>
        </p:nvSpPr>
        <p:spPr>
          <a:xfrm>
            <a:off x="8763590" y="4698532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0" y="1"/>
                </a:moveTo>
                <a:lnTo>
                  <a:pt x="1" y="15979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7" name="Google Shape;877;p26"/>
          <p:cNvSpPr/>
          <p:nvPr/>
        </p:nvSpPr>
        <p:spPr>
          <a:xfrm>
            <a:off x="8652474" y="3168852"/>
            <a:ext cx="111133" cy="127335"/>
          </a:xfrm>
          <a:custGeom>
            <a:avLst/>
            <a:gdLst/>
            <a:ahLst/>
            <a:cxnLst/>
            <a:rect l="l" t="t" r="r" b="b"/>
            <a:pathLst>
              <a:path w="8040" h="9174" extrusionOk="0">
                <a:moveTo>
                  <a:pt x="8040" y="0"/>
                </a:moveTo>
                <a:lnTo>
                  <a:pt x="1" y="4604"/>
                </a:lnTo>
                <a:lnTo>
                  <a:pt x="8040" y="9174"/>
                </a:lnTo>
                <a:lnTo>
                  <a:pt x="804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26"/>
          <p:cNvSpPr/>
          <p:nvPr/>
        </p:nvSpPr>
        <p:spPr>
          <a:xfrm>
            <a:off x="8000931" y="4698532"/>
            <a:ext cx="760804" cy="441717"/>
          </a:xfrm>
          <a:custGeom>
            <a:avLst/>
            <a:gdLst/>
            <a:ahLst/>
            <a:cxnLst/>
            <a:rect l="l" t="t" r="r" b="b"/>
            <a:pathLst>
              <a:path w="55041" h="31824" extrusionOk="0">
                <a:moveTo>
                  <a:pt x="27521" y="1"/>
                </a:moveTo>
                <a:lnTo>
                  <a:pt x="1" y="15979"/>
                </a:lnTo>
                <a:lnTo>
                  <a:pt x="27521" y="31823"/>
                </a:lnTo>
                <a:lnTo>
                  <a:pt x="55040" y="15979"/>
                </a:lnTo>
                <a:lnTo>
                  <a:pt x="27521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9" name="Google Shape;879;p26"/>
          <p:cNvSpPr/>
          <p:nvPr/>
        </p:nvSpPr>
        <p:spPr>
          <a:xfrm>
            <a:off x="8381336" y="4256839"/>
            <a:ext cx="380409" cy="663492"/>
          </a:xfrm>
          <a:custGeom>
            <a:avLst/>
            <a:gdLst/>
            <a:ahLst/>
            <a:cxnLst/>
            <a:rect l="l" t="t" r="r" b="b"/>
            <a:pathLst>
              <a:path w="27521" h="47802" extrusionOk="0">
                <a:moveTo>
                  <a:pt x="1" y="1"/>
                </a:moveTo>
                <a:lnTo>
                  <a:pt x="1" y="31824"/>
                </a:lnTo>
                <a:lnTo>
                  <a:pt x="27520" y="47802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0" name="Google Shape;880;p26"/>
          <p:cNvSpPr/>
          <p:nvPr/>
        </p:nvSpPr>
        <p:spPr>
          <a:xfrm>
            <a:off x="8761740" y="4036930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0" y="0"/>
                </a:moveTo>
                <a:lnTo>
                  <a:pt x="0" y="31823"/>
                </a:lnTo>
                <a:lnTo>
                  <a:pt x="27653" y="15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1" name="Google Shape;881;p26"/>
          <p:cNvSpPr/>
          <p:nvPr/>
        </p:nvSpPr>
        <p:spPr>
          <a:xfrm>
            <a:off x="7822482" y="3491070"/>
            <a:ext cx="178448" cy="206507"/>
          </a:xfrm>
          <a:custGeom>
            <a:avLst/>
            <a:gdLst/>
            <a:ahLst/>
            <a:cxnLst/>
            <a:rect l="l" t="t" r="r" b="b"/>
            <a:pathLst>
              <a:path w="12910" h="14878" extrusionOk="0">
                <a:moveTo>
                  <a:pt x="1" y="0"/>
                </a:moveTo>
                <a:lnTo>
                  <a:pt x="1" y="14877"/>
                </a:lnTo>
                <a:lnTo>
                  <a:pt x="12910" y="750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2" name="Google Shape;882;p26"/>
          <p:cNvSpPr/>
          <p:nvPr/>
        </p:nvSpPr>
        <p:spPr>
          <a:xfrm>
            <a:off x="7259448" y="4698532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1" y="1"/>
                </a:moveTo>
                <a:lnTo>
                  <a:pt x="1" y="31823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53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24DA73-6671-459E-A0EF-719867A5A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100" y="875108"/>
            <a:ext cx="6949440" cy="3799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529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244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6BF10-92C3-47A0-8B2E-A2D8F1B6F2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487" y="757350"/>
            <a:ext cx="7208107" cy="384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63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858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FCF083-AFFD-4958-8EC7-BAEA93139A4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498"/>
          <a:stretch/>
        </p:blipFill>
        <p:spPr>
          <a:xfrm>
            <a:off x="3002275" y="871870"/>
            <a:ext cx="2887037" cy="403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734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79C6DE-DEA3-45D2-B3B1-97BFFDC737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7198" y="637952"/>
            <a:ext cx="3830188" cy="408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438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9F3ECD-69A3-4FE3-9C53-7A12DCD6B1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73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79F3ECD-69A3-4FE3-9C53-7A12DCD6B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5" name="Google Shape;925;p32"/>
          <p:cNvSpPr txBox="1">
            <a:spLocks noGrp="1"/>
          </p:cNvSpPr>
          <p:nvPr>
            <p:ph type="title"/>
          </p:nvPr>
        </p:nvSpPr>
        <p:spPr>
          <a:xfrm>
            <a:off x="5028293" y="1320775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ONCLUSION</a:t>
            </a:r>
            <a:endParaRPr dirty="0"/>
          </a:p>
        </p:txBody>
      </p:sp>
      <p:sp>
        <p:nvSpPr>
          <p:cNvPr id="926" name="Google Shape;926;p32"/>
          <p:cNvSpPr txBox="1">
            <a:spLocks noGrp="1"/>
          </p:cNvSpPr>
          <p:nvPr>
            <p:ph type="subTitle" idx="1"/>
          </p:nvPr>
        </p:nvSpPr>
        <p:spPr>
          <a:xfrm>
            <a:off x="63785" y="1893475"/>
            <a:ext cx="5614002" cy="20476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000" dirty="0"/>
              <a:t>In conclusion we can say that the movies probably have a higher rating when they are in the average of 90m to 150m and the critic reviews are important along with the </a:t>
            </a:r>
            <a:r>
              <a:rPr lang="en-US" sz="2000"/>
              <a:t>user reviews.   </a:t>
            </a:r>
            <a:endParaRPr sz="2000" dirty="0"/>
          </a:p>
        </p:txBody>
      </p:sp>
      <p:cxnSp>
        <p:nvCxnSpPr>
          <p:cNvPr id="927" name="Google Shape;927;p32"/>
          <p:cNvCxnSpPr/>
          <p:nvPr/>
        </p:nvCxnSpPr>
        <p:spPr>
          <a:xfrm>
            <a:off x="5123700" y="1827517"/>
            <a:ext cx="40203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267438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9FD39C-0441-4375-98C7-2D15FF4B9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148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9FD39C-0441-4375-98C7-2D15FF4B9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Google Shape;1571;p85">
            <a:extLst>
              <a:ext uri="{FF2B5EF4-FFF2-40B4-BE49-F238E27FC236}">
                <a16:creationId xmlns:a16="http://schemas.microsoft.com/office/drawing/2014/main" id="{A39F6E2A-C603-472C-ACBD-7EC1D2CF9902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606118" y="1914644"/>
            <a:ext cx="3605700" cy="839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THANKS!</a:t>
            </a:r>
            <a:endParaRPr sz="6000" dirty="0"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998067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9FD39C-0441-4375-98C7-2D15FF4B9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361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3" name="Google Shape;893;p28"/>
          <p:cNvSpPr txBox="1">
            <a:spLocks noGrp="1"/>
          </p:cNvSpPr>
          <p:nvPr>
            <p:ph type="ctrTitle" idx="7"/>
          </p:nvPr>
        </p:nvSpPr>
        <p:spPr>
          <a:xfrm>
            <a:off x="4155425" y="39626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ONCLUSION</a:t>
            </a:r>
            <a:endParaRPr dirty="0"/>
          </a:p>
        </p:txBody>
      </p:sp>
      <p:sp>
        <p:nvSpPr>
          <p:cNvPr id="894" name="Google Shape;894;p28"/>
          <p:cNvSpPr txBox="1">
            <a:spLocks noGrp="1"/>
          </p:cNvSpPr>
          <p:nvPr>
            <p:ph type="ctrTitle"/>
          </p:nvPr>
        </p:nvSpPr>
        <p:spPr>
          <a:xfrm>
            <a:off x="4155425" y="19669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TRODUCTION</a:t>
            </a:r>
            <a:endParaRPr dirty="0"/>
          </a:p>
        </p:txBody>
      </p:sp>
      <p:sp>
        <p:nvSpPr>
          <p:cNvPr id="895" name="Google Shape;895;p28"/>
          <p:cNvSpPr txBox="1">
            <a:spLocks noGrp="1"/>
          </p:cNvSpPr>
          <p:nvPr>
            <p:ph type="title" idx="2"/>
          </p:nvPr>
        </p:nvSpPr>
        <p:spPr>
          <a:xfrm>
            <a:off x="2319727" y="196688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896" name="Google Shape;896;p28"/>
          <p:cNvSpPr txBox="1">
            <a:spLocks noGrp="1"/>
          </p:cNvSpPr>
          <p:nvPr>
            <p:ph type="ctrTitle" idx="3"/>
          </p:nvPr>
        </p:nvSpPr>
        <p:spPr>
          <a:xfrm>
            <a:off x="4155425" y="2816447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dirty="0"/>
              <a:t>PROPLEM</a:t>
            </a:r>
            <a:br>
              <a:rPr lang="en-US" dirty="0"/>
            </a:br>
            <a:endParaRPr dirty="0"/>
          </a:p>
        </p:txBody>
      </p:sp>
      <p:sp>
        <p:nvSpPr>
          <p:cNvPr id="897" name="Google Shape;897;p28"/>
          <p:cNvSpPr txBox="1">
            <a:spLocks noGrp="1"/>
          </p:cNvSpPr>
          <p:nvPr>
            <p:ph type="title" idx="4"/>
          </p:nvPr>
        </p:nvSpPr>
        <p:spPr>
          <a:xfrm>
            <a:off x="2319727" y="263213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898" name="Google Shape;898;p28"/>
          <p:cNvSpPr txBox="1">
            <a:spLocks noGrp="1"/>
          </p:cNvSpPr>
          <p:nvPr>
            <p:ph type="ctrTitle" idx="5"/>
          </p:nvPr>
        </p:nvSpPr>
        <p:spPr>
          <a:xfrm>
            <a:off x="4155425" y="32974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sp>
        <p:nvSpPr>
          <p:cNvPr id="899" name="Google Shape;899;p28"/>
          <p:cNvSpPr txBox="1">
            <a:spLocks noGrp="1"/>
          </p:cNvSpPr>
          <p:nvPr>
            <p:ph type="title" idx="6"/>
          </p:nvPr>
        </p:nvSpPr>
        <p:spPr>
          <a:xfrm>
            <a:off x="2319727" y="329738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900" name="Google Shape;900;p28"/>
          <p:cNvSpPr txBox="1">
            <a:spLocks noGrp="1"/>
          </p:cNvSpPr>
          <p:nvPr>
            <p:ph type="title" idx="8"/>
          </p:nvPr>
        </p:nvSpPr>
        <p:spPr>
          <a:xfrm>
            <a:off x="2319727" y="396263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4</a:t>
            </a:r>
            <a:endParaRPr/>
          </a:p>
        </p:txBody>
      </p:sp>
      <p:sp>
        <p:nvSpPr>
          <p:cNvPr id="901" name="Google Shape;901;p28"/>
          <p:cNvSpPr txBox="1">
            <a:spLocks noGrp="1"/>
          </p:cNvSpPr>
          <p:nvPr>
            <p:ph type="ctrTitle" idx="9"/>
          </p:nvPr>
        </p:nvSpPr>
        <p:spPr>
          <a:xfrm>
            <a:off x="4155425" y="1184800"/>
            <a:ext cx="38886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cxnSp>
        <p:nvCxnSpPr>
          <p:cNvPr id="902" name="Google Shape;902;p28"/>
          <p:cNvCxnSpPr/>
          <p:nvPr/>
        </p:nvCxnSpPr>
        <p:spPr>
          <a:xfrm>
            <a:off x="3986825" y="-16500"/>
            <a:ext cx="0" cy="44886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9F3ECD-69A3-4FE3-9C53-7A12DCD6B1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14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5" name="Google Shape;925;p32"/>
          <p:cNvSpPr txBox="1">
            <a:spLocks noGrp="1"/>
          </p:cNvSpPr>
          <p:nvPr>
            <p:ph type="title"/>
          </p:nvPr>
        </p:nvSpPr>
        <p:spPr>
          <a:xfrm>
            <a:off x="5028293" y="1320775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INTRODUCTION</a:t>
            </a:r>
            <a:endParaRPr dirty="0"/>
          </a:p>
        </p:txBody>
      </p:sp>
      <p:sp>
        <p:nvSpPr>
          <p:cNvPr id="926" name="Google Shape;926;p32"/>
          <p:cNvSpPr txBox="1">
            <a:spLocks noGrp="1"/>
          </p:cNvSpPr>
          <p:nvPr>
            <p:ph type="subTitle" idx="1"/>
          </p:nvPr>
        </p:nvSpPr>
        <p:spPr>
          <a:xfrm>
            <a:off x="63785" y="1893475"/>
            <a:ext cx="5614002" cy="20476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000" dirty="0"/>
              <a:t>The Internet Movie Database (IMDB) is an online database of information related movies, TV shows, celebrities, genre, reviews, etc. The IMDB website enables registered users to rate different </a:t>
            </a:r>
            <a:r>
              <a:rPr lang="en-US" sz="2000" dirty="0" err="1"/>
              <a:t>movies,TV</a:t>
            </a:r>
            <a:r>
              <a:rPr lang="en-US" sz="2000" dirty="0"/>
              <a:t> shows and actors on scale of 1 to 10.</a:t>
            </a:r>
            <a:endParaRPr sz="2000" dirty="0"/>
          </a:p>
        </p:txBody>
      </p:sp>
      <p:cxnSp>
        <p:nvCxnSpPr>
          <p:cNvPr id="927" name="Google Shape;927;p32"/>
          <p:cNvCxnSpPr/>
          <p:nvPr/>
        </p:nvCxnSpPr>
        <p:spPr>
          <a:xfrm>
            <a:off x="5123700" y="1827517"/>
            <a:ext cx="40203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2DAB1E98-4A78-40D9-8684-36057303B4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2901" y="2334260"/>
            <a:ext cx="2297292" cy="11559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41BF21-B655-4EAD-BFBB-A49C2BD292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53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2" name="Google Shape;1062;p44"/>
          <p:cNvSpPr txBox="1">
            <a:spLocks noGrp="1"/>
          </p:cNvSpPr>
          <p:nvPr>
            <p:ph type="ctrTitle"/>
          </p:nvPr>
        </p:nvSpPr>
        <p:spPr>
          <a:xfrm>
            <a:off x="4784652" y="215267"/>
            <a:ext cx="37899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PROPLEM</a:t>
            </a:r>
            <a:endParaRPr dirty="0"/>
          </a:p>
        </p:txBody>
      </p:sp>
      <p:cxnSp>
        <p:nvCxnSpPr>
          <p:cNvPr id="1063" name="Google Shape;1063;p44"/>
          <p:cNvCxnSpPr>
            <a:stCxn id="1064" idx="3"/>
            <a:endCxn id="1065" idx="1"/>
          </p:cNvCxnSpPr>
          <p:nvPr/>
        </p:nvCxnSpPr>
        <p:spPr>
          <a:xfrm>
            <a:off x="3592296" y="3042518"/>
            <a:ext cx="8877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cxnSp>
        <p:nvCxnSpPr>
          <p:cNvPr id="1066" name="Google Shape;1066;p44"/>
          <p:cNvCxnSpPr>
            <a:stCxn id="1067" idx="0"/>
          </p:cNvCxnSpPr>
          <p:nvPr/>
        </p:nvCxnSpPr>
        <p:spPr>
          <a:xfrm rot="10800000">
            <a:off x="3230857" y="2359243"/>
            <a:ext cx="0" cy="3882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68" name="Google Shape;1068;p44"/>
          <p:cNvSpPr/>
          <p:nvPr/>
        </p:nvSpPr>
        <p:spPr>
          <a:xfrm>
            <a:off x="2834575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7" name="Google Shape;1067;p44"/>
          <p:cNvSpPr/>
          <p:nvPr/>
        </p:nvSpPr>
        <p:spPr>
          <a:xfrm>
            <a:off x="2935807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69" name="Google Shape;1069;p44"/>
          <p:cNvCxnSpPr>
            <a:stCxn id="1070" idx="4"/>
          </p:cNvCxnSpPr>
          <p:nvPr/>
        </p:nvCxnSpPr>
        <p:spPr>
          <a:xfrm>
            <a:off x="4836387" y="3337543"/>
            <a:ext cx="0" cy="3498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1" name="Google Shape;1071;p44"/>
          <p:cNvSpPr/>
          <p:nvPr/>
        </p:nvSpPr>
        <p:spPr>
          <a:xfrm>
            <a:off x="4440105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0" name="Google Shape;1070;p44"/>
          <p:cNvSpPr/>
          <p:nvPr/>
        </p:nvSpPr>
        <p:spPr>
          <a:xfrm>
            <a:off x="4541337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72" name="Google Shape;1072;p44"/>
          <p:cNvCxnSpPr>
            <a:stCxn id="1073" idx="0"/>
          </p:cNvCxnSpPr>
          <p:nvPr/>
        </p:nvCxnSpPr>
        <p:spPr>
          <a:xfrm rot="10800000">
            <a:off x="6441918" y="2359243"/>
            <a:ext cx="0" cy="3882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4" name="Google Shape;1074;p44"/>
          <p:cNvSpPr/>
          <p:nvPr/>
        </p:nvSpPr>
        <p:spPr>
          <a:xfrm>
            <a:off x="6045636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3" name="Google Shape;1073;p44"/>
          <p:cNvSpPr/>
          <p:nvPr/>
        </p:nvSpPr>
        <p:spPr>
          <a:xfrm>
            <a:off x="6146868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75" name="Google Shape;1075;p44"/>
          <p:cNvCxnSpPr>
            <a:stCxn id="1076" idx="4"/>
          </p:cNvCxnSpPr>
          <p:nvPr/>
        </p:nvCxnSpPr>
        <p:spPr>
          <a:xfrm>
            <a:off x="8047449" y="3337543"/>
            <a:ext cx="0" cy="3498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7" name="Google Shape;1077;p44"/>
          <p:cNvSpPr/>
          <p:nvPr/>
        </p:nvSpPr>
        <p:spPr>
          <a:xfrm>
            <a:off x="7651166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6" name="Google Shape;1076;p44"/>
          <p:cNvSpPr/>
          <p:nvPr/>
        </p:nvSpPr>
        <p:spPr>
          <a:xfrm>
            <a:off x="7752399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4" name="Google Shape;1064;p44"/>
          <p:cNvSpPr txBox="1"/>
          <p:nvPr/>
        </p:nvSpPr>
        <p:spPr>
          <a:xfrm>
            <a:off x="2879196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1</a:t>
            </a:r>
            <a:endParaRPr sz="2400" dirty="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65" name="Google Shape;1065;p44"/>
          <p:cNvSpPr txBox="1"/>
          <p:nvPr/>
        </p:nvSpPr>
        <p:spPr>
          <a:xfrm>
            <a:off x="4479975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2</a:t>
            </a:r>
            <a:endParaRPr sz="240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78" name="Google Shape;1078;p44"/>
          <p:cNvSpPr txBox="1"/>
          <p:nvPr/>
        </p:nvSpPr>
        <p:spPr>
          <a:xfrm>
            <a:off x="6085579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3</a:t>
            </a:r>
            <a:endParaRPr sz="240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79" name="Google Shape;1079;p44"/>
          <p:cNvSpPr txBox="1"/>
          <p:nvPr/>
        </p:nvSpPr>
        <p:spPr>
          <a:xfrm>
            <a:off x="7686646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4</a:t>
            </a:r>
            <a:endParaRPr sz="2400" dirty="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cxnSp>
        <p:nvCxnSpPr>
          <p:cNvPr id="1090" name="Google Shape;1090;p44"/>
          <p:cNvCxnSpPr>
            <a:stCxn id="1065" idx="3"/>
            <a:endCxn id="1078" idx="1"/>
          </p:cNvCxnSpPr>
          <p:nvPr/>
        </p:nvCxnSpPr>
        <p:spPr>
          <a:xfrm>
            <a:off x="5193075" y="3042518"/>
            <a:ext cx="8925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cxnSp>
        <p:nvCxnSpPr>
          <p:cNvPr id="1091" name="Google Shape;1091;p44"/>
          <p:cNvCxnSpPr>
            <a:stCxn id="1078" idx="3"/>
            <a:endCxn id="1079" idx="1"/>
          </p:cNvCxnSpPr>
          <p:nvPr/>
        </p:nvCxnSpPr>
        <p:spPr>
          <a:xfrm>
            <a:off x="6798679" y="3042518"/>
            <a:ext cx="888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0EE2B9B-E543-48B8-BB33-18542717EE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6205" y="1479856"/>
            <a:ext cx="1579941" cy="8334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C001DC1-BDCA-4ED7-A1EF-2213ACCD14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87628" y="3764367"/>
            <a:ext cx="1097254" cy="996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31BF6E-1949-493C-BA88-707C401314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4117" y="1452861"/>
            <a:ext cx="1555602" cy="8711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C21FBD-AED6-4B05-ACFC-2BED28D655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39456" y="3779650"/>
            <a:ext cx="2041232" cy="685685"/>
          </a:xfrm>
          <a:prstGeom prst="rect">
            <a:avLst/>
          </a:prstGeom>
        </p:spPr>
      </p:pic>
      <p:sp>
        <p:nvSpPr>
          <p:cNvPr id="45" name="Google Shape;926;p32">
            <a:extLst>
              <a:ext uri="{FF2B5EF4-FFF2-40B4-BE49-F238E27FC236}">
                <a16:creationId xmlns:a16="http://schemas.microsoft.com/office/drawing/2014/main" id="{0FAD7C4F-C9F4-40DA-AD0E-87E15F93E685}"/>
              </a:ext>
            </a:extLst>
          </p:cNvPr>
          <p:cNvSpPr txBox="1">
            <a:spLocks/>
          </p:cNvSpPr>
          <p:nvPr/>
        </p:nvSpPr>
        <p:spPr>
          <a:xfrm>
            <a:off x="296446" y="-80831"/>
            <a:ext cx="2058791" cy="393851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 dirty="0"/>
              <a:t>As we all now that there are a lot of Production Companies in the World like  </a:t>
            </a:r>
            <a:r>
              <a:rPr lang="en-US" sz="1600" u="sng" dirty="0"/>
              <a:t>(Universal Pictures, Warner Bros., Columbia Pictures</a:t>
            </a:r>
            <a:r>
              <a:rPr lang="en-US" sz="1600" u="sng" dirty="0">
                <a:sym typeface="Arvo"/>
              </a:rPr>
              <a:t> and </a:t>
            </a:r>
            <a:r>
              <a:rPr lang="en-US" sz="1600" u="sng" dirty="0"/>
              <a:t>Walt Disney Pictures)</a:t>
            </a:r>
            <a:endParaRPr lang="en-US" sz="1600" u="sng" dirty="0">
              <a:sym typeface="Arvo"/>
            </a:endParaRPr>
          </a:p>
          <a:p>
            <a:r>
              <a:rPr lang="en-US" sz="1600" dirty="0">
                <a:solidFill>
                  <a:schemeClr val="dk1"/>
                </a:solidFill>
                <a:latin typeface="Arvo"/>
                <a:sym typeface="Arvo"/>
              </a:rPr>
              <a:t> </a:t>
            </a:r>
            <a:r>
              <a:rPr lang="en-US" sz="1600" dirty="0"/>
              <a:t>so in our project we will talk about how to help them to get a higher </a:t>
            </a:r>
            <a:r>
              <a:rPr lang="en-US" sz="1800" b="1" u="sng" dirty="0"/>
              <a:t>rating</a:t>
            </a:r>
            <a:r>
              <a:rPr lang="en-US" sz="1600" dirty="0"/>
              <a:t> based on </a:t>
            </a:r>
            <a:r>
              <a:rPr lang="en-US" sz="1600" dirty="0" err="1"/>
              <a:t>iMDb</a:t>
            </a:r>
            <a:r>
              <a:rPr lang="en-US" sz="1600" dirty="0"/>
              <a:t> top 250 movies scarped data from </a:t>
            </a:r>
            <a:r>
              <a:rPr lang="en-US" sz="1600" dirty="0" err="1"/>
              <a:t>iMDb</a:t>
            </a:r>
            <a:r>
              <a:rPr lang="en-US" sz="1600" dirty="0"/>
              <a:t> website</a:t>
            </a:r>
          </a:p>
          <a:p>
            <a:endParaRPr lang="en-US" sz="16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94D208-D9E4-4C6E-B876-2504F7FC3A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000" y="2487181"/>
            <a:ext cx="7620000" cy="1620301"/>
          </a:xfrm>
          <a:prstGeom prst="rect">
            <a:avLst/>
          </a:prstGeom>
        </p:spPr>
      </p:pic>
      <p:sp>
        <p:nvSpPr>
          <p:cNvPr id="7" name="Google Shape;926;p32">
            <a:extLst>
              <a:ext uri="{FF2B5EF4-FFF2-40B4-BE49-F238E27FC236}">
                <a16:creationId xmlns:a16="http://schemas.microsoft.com/office/drawing/2014/main" id="{35876FFB-0E45-4934-8769-4C38A773FCA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70725" y="1352603"/>
            <a:ext cx="7620000" cy="82822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-US" sz="2000" dirty="0"/>
              <a:t>In our analysis we used the top 250 movies rated based on </a:t>
            </a:r>
            <a:r>
              <a:rPr lang="en-US" sz="2000" dirty="0" err="1"/>
              <a:t>iMDb</a:t>
            </a:r>
            <a:r>
              <a:rPr lang="en-US" sz="2000" dirty="0"/>
              <a:t> website and this is the top 5 with the columns we use</a:t>
            </a:r>
            <a:endParaRPr sz="2000" dirty="0"/>
          </a:p>
        </p:txBody>
      </p:sp>
    </p:spTree>
    <p:extLst>
      <p:ext uri="{BB962C8B-B14F-4D97-AF65-F5344CB8AC3E}">
        <p14:creationId xmlns:p14="http://schemas.microsoft.com/office/powerpoint/2010/main" val="898667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8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4B0B02-A5B8-4A5C-9E8B-8BE2C142EC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8697" y="871870"/>
            <a:ext cx="6078029" cy="427163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8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4D5E09-FEE3-4E24-BD55-A0E9056CE3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724" y="920383"/>
            <a:ext cx="6005759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44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38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BA4AA1-1B2E-4815-A909-082F090FFD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8190" y="146353"/>
            <a:ext cx="4647619" cy="4850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14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32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589E70-F087-4815-BDF4-D2ACA6B760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900774"/>
            <a:ext cx="9144000" cy="35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702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y Creative CV XL by Slidesgo">
  <a:themeElements>
    <a:clrScheme name="Simple Light">
      <a:dk1>
        <a:srgbClr val="434343"/>
      </a:dk1>
      <a:lt1>
        <a:srgbClr val="E9E6E1"/>
      </a:lt1>
      <a:dk2>
        <a:srgbClr val="0C2E3A"/>
      </a:dk2>
      <a:lt2>
        <a:srgbClr val="018790"/>
      </a:lt2>
      <a:accent1>
        <a:srgbClr val="FFD497"/>
      </a:accent1>
      <a:accent2>
        <a:srgbClr val="1DCDC3"/>
      </a:accent2>
      <a:accent3>
        <a:srgbClr val="78001B"/>
      </a:accent3>
      <a:accent4>
        <a:srgbClr val="F5340B"/>
      </a:accent4>
      <a:accent5>
        <a:srgbClr val="FF823B"/>
      </a:accent5>
      <a:accent6>
        <a:srgbClr val="FFA73B"/>
      </a:accent6>
      <a:hlink>
        <a:srgbClr val="1DCDC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</TotalTime>
  <Words>209</Words>
  <Application>Microsoft Office PowerPoint</Application>
  <PresentationFormat>On-screen Show (16:9)</PresentationFormat>
  <Paragraphs>34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Barlow Condensed SemiBold</vt:lpstr>
      <vt:lpstr>Arvo</vt:lpstr>
      <vt:lpstr>Arial</vt:lpstr>
      <vt:lpstr>Barlow Condensed</vt:lpstr>
      <vt:lpstr>Roboto Condensed</vt:lpstr>
      <vt:lpstr>Montserrat Light</vt:lpstr>
      <vt:lpstr>Fira Sans Extra Condensed Medium</vt:lpstr>
      <vt:lpstr>My Creative CV XL by Slidesgo</vt:lpstr>
      <vt:lpstr>think-cell Slide</vt:lpstr>
      <vt:lpstr>iMDb Movie Scraping and Regression Analysis </vt:lpstr>
      <vt:lpstr>CONCLUSION</vt:lpstr>
      <vt:lpstr>INTRODUCTION</vt:lpstr>
      <vt:lpstr>PROPLEM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CONCLUSION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Db Movie Scraping and Regression Analysis </dc:title>
  <cp:lastModifiedBy>IBRAHIM</cp:lastModifiedBy>
  <cp:revision>14</cp:revision>
  <dcterms:modified xsi:type="dcterms:W3CDTF">2021-09-26T08:38:18Z</dcterms:modified>
</cp:coreProperties>
</file>